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7120909962381"/>
          <c:y val="4.562041422866165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1.5329229606029185E-2"/>
                  <c:y val="1.1609547691943112E-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2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563302355414583"/>
                      <c:h val="5.204676325810346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314E-2"/>
                  <c:y val="-5.886040679855112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0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8.1578297480236706E-2"/>
                  <c:y val="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*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3.891330970620264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05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12437219562607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24</c:v>
                </c:pt>
                <c:pt idx="1">
                  <c:v>0</c:v>
                </c:pt>
                <c:pt idx="2">
                  <c:v>148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48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01.11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931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8</cdr:x>
      <cdr:y>0.24965</cdr:y>
    </cdr:from>
    <cdr:to>
      <cdr:x>0.62582</cdr:x>
      <cdr:y>0.31397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5823" y="1075196"/>
          <a:ext cx="596591" cy="27701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01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11/1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11/1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11/1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01.11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5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7964254"/>
              </p:ext>
            </p:extLst>
          </p:nvPr>
        </p:nvGraphicFramePr>
        <p:xfrm>
          <a:off x="3935762" y="1809189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904108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4155298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631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1140005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4829881" y="5289299"/>
            <a:ext cx="33269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- смонтированы</a:t>
            </a:r>
            <a:endParaRPr lang="ru-RU" sz="9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30</TotalTime>
  <Words>107</Words>
  <Application>Microsoft Office PowerPoint</Application>
  <PresentationFormat>Широкоэкранный</PresentationFormat>
  <Paragraphs>3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22</cp:revision>
  <cp:lastPrinted>2025-05-22T08:59:55Z</cp:lastPrinted>
  <dcterms:created xsi:type="dcterms:W3CDTF">2021-07-15T07:55:03Z</dcterms:created>
  <dcterms:modified xsi:type="dcterms:W3CDTF">2025-11-01T12:47:01Z</dcterms:modified>
</cp:coreProperties>
</file>